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39" dt="2022-03-24T06:34:1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5" d="100"/>
          <a:sy n="65" d="100"/>
        </p:scale>
        <p:origin x="60" y="8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0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0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hanothu.sai-sreeja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31834" y="3100390"/>
            <a:ext cx="3943804" cy="3073397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EMPLOYEE MANAGEMENT SYSTEM</a:t>
            </a:r>
          </a:p>
          <a:p>
            <a:pPr marL="64770" marR="22860" algn="just">
              <a:lnSpc>
                <a:spcPct val="112000"/>
              </a:lnSpc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d end to end case study of Employee</a:t>
            </a:r>
            <a:r>
              <a:rPr lang="en-US" sz="1100" spc="-38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ment System, Postman and swagger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sting Html</a:t>
            </a:r>
            <a:r>
              <a:rPr lang="en-US" sz="110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S</a:t>
            </a:r>
            <a:r>
              <a:rPr lang="en-US" sz="1100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d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face.</a:t>
            </a:r>
          </a:p>
          <a:p>
            <a:pPr marL="64770" marR="22860">
              <a:lnSpc>
                <a:spcPct val="112000"/>
              </a:lnSpc>
              <a:spcAft>
                <a:spcPts val="0"/>
              </a:spcAft>
            </a:pPr>
            <a:endParaRPr lang="en-IN" sz="11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4000"/>
              </a:lnSpc>
            </a:pPr>
            <a:r>
              <a:rPr lang="en-US" sz="11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-900</a:t>
            </a:r>
            <a:r>
              <a:rPr lang="en-US" sz="1100" b="1" spc="-3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rtification</a:t>
            </a:r>
            <a:r>
              <a:rPr lang="en-US" sz="1100" b="1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om Microsoft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d</a:t>
            </a:r>
            <a:r>
              <a:rPr lang="en-US" sz="1100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en-US" sz="1100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urse</a:t>
            </a:r>
            <a:r>
              <a:rPr lang="en-US" sz="1100" spc="-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65/1000</a:t>
            </a:r>
          </a:p>
          <a:p>
            <a:pPr eaLnBrk="1" hangingPunct="1">
              <a:lnSpc>
                <a:spcPct val="114000"/>
              </a:lnSpc>
            </a:pPr>
            <a:endParaRPr lang="en-IN" altLang="nl-NL" sz="1100" b="1" dirty="0"/>
          </a:p>
          <a:p>
            <a:pPr marR="179705">
              <a:lnSpc>
                <a:spcPct val="112000"/>
              </a:lnSpc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                                         </a:t>
            </a:r>
            <a:endParaRPr lang="en-IN" sz="11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8421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Vanne.gunasekhar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6309780797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40871" y="3169047"/>
            <a:ext cx="4057650" cy="2892424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ftware Engineer who. Self-motivated and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rdworking fresher seeking for an opportunity to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</a:t>
            </a:r>
            <a:r>
              <a:rPr lang="en-US" sz="1100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</a:t>
            </a:r>
            <a:r>
              <a:rPr lang="en-US" sz="110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lang="en-US" sz="1100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llenging</a:t>
            </a:r>
            <a:r>
              <a:rPr lang="en-US" sz="1100" spc="4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vironment to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e</a:t>
            </a:r>
            <a:r>
              <a:rPr lang="en-US" sz="1100" spc="-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y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en-US" sz="1100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tilize</a:t>
            </a:r>
            <a:r>
              <a:rPr lang="en-US" sz="1100" spc="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y</a:t>
            </a:r>
            <a:r>
              <a:rPr lang="en-US" sz="1100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nowledge</a:t>
            </a:r>
            <a:r>
              <a:rPr lang="en-US" sz="1100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</a:t>
            </a:r>
            <a:r>
              <a:rPr lang="en-US" sz="1100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lligence</a:t>
            </a:r>
            <a:r>
              <a:rPr lang="en-US" sz="110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</a:t>
            </a:r>
            <a:r>
              <a:rPr lang="en-US" sz="1100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en-US" sz="1100" spc="-37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owth of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organization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Eager to work in a team of dedicated people and</a:t>
            </a:r>
            <a:r>
              <a:rPr lang="en-US" sz="1100" spc="-37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serve a key role in the enhancement and</a:t>
            </a:r>
            <a:r>
              <a:rPr lang="en-US" sz="1100" spc="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development</a:t>
            </a:r>
            <a:r>
              <a:rPr lang="en-US" sz="1100" spc="-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of</a:t>
            </a:r>
            <a:r>
              <a:rPr lang="en-US" sz="1100" spc="-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the project.</a:t>
            </a: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Has working knowledge of C#, SQL</a:t>
            </a:r>
            <a:r>
              <a:rPr lang="en-US" sz="1100" dirty="0"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 Server and Oracle SQL</a:t>
            </a:r>
            <a:endParaRPr lang="en-IN" sz="1100" dirty="0">
              <a:effectLst/>
              <a:latin typeface="Verdana" panose="020B0604030504040204" pitchFamily="34" charset="0"/>
              <a:ea typeface="Arial" panose="020B0604020202020204" pitchFamily="34" charset="0"/>
              <a:cs typeface="Verdana" panose="020B0604030504040204" pitchFamily="34" charset="0"/>
            </a:endParaRP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Technolog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echanical Engineering: 2018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C#</a:t>
            </a: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ytho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Oracle 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icrosoft 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ML</a:t>
            </a:r>
            <a:endParaRPr lang="en-IN" sz="10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 API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Good Listener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Quick Learn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VANNE GUNASEKHAR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8" name="Picture Placeholder 7" descr="A picture containing person, person, work-clothing&#10;&#10;Description automatically generated">
            <a:extLst>
              <a:ext uri="{FF2B5EF4-FFF2-40B4-BE49-F238E27FC236}">
                <a16:creationId xmlns:a16="http://schemas.microsoft.com/office/drawing/2014/main" id="{C605D329-F1A4-4CD3-B080-704039A9E51A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1" b="11111"/>
          <a:stretch>
            <a:fillRect/>
          </a:stretch>
        </p:blipFill>
        <p:spPr>
          <a:xfrm>
            <a:off x="357293" y="318201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498</TotalTime>
  <Words>166</Words>
  <Application>Microsoft Office PowerPoint</Application>
  <PresentationFormat>Widescreen</PresentationFormat>
  <Paragraphs>6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GUNASEKHAR, VANNE</cp:lastModifiedBy>
  <cp:revision>114</cp:revision>
  <dcterms:created xsi:type="dcterms:W3CDTF">2017-12-08T05:27:40Z</dcterms:created>
  <dcterms:modified xsi:type="dcterms:W3CDTF">2022-05-10T12:3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